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2"/>
  </p:notesMasterIdLst>
  <p:sldIdLst>
    <p:sldId id="311" r:id="rId2"/>
    <p:sldId id="330" r:id="rId3"/>
    <p:sldId id="331" r:id="rId4"/>
    <p:sldId id="332" r:id="rId5"/>
    <p:sldId id="333" r:id="rId6"/>
    <p:sldId id="334" r:id="rId7"/>
    <p:sldId id="335" r:id="rId8"/>
    <p:sldId id="336" r:id="rId9"/>
    <p:sldId id="337" r:id="rId10"/>
    <p:sldId id="314" r:id="rId11"/>
  </p:sldIdLst>
  <p:sldSz cx="9144000" cy="5143500" type="screen16x9"/>
  <p:notesSz cx="6858000" cy="9144000"/>
  <p:embeddedFontLst>
    <p:embeddedFont>
      <p:font typeface="Calibri" pitchFamily="34" charset="0"/>
      <p:regular r:id="rId13"/>
      <p:bold r:id="rId14"/>
      <p:italic r:id="rId15"/>
      <p:boldItalic r:id="rId16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Limits &amp; Continuity</a:t>
            </a:r>
            <a:br>
              <a:rPr lang="en-US" dirty="0" smtClean="0"/>
            </a:br>
            <a:r>
              <a:rPr lang="en-US" dirty="0" smtClean="0"/>
              <a:t>Limits at Infinity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mit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ne-Sided Limit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tinuity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imits &amp; Continuity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Limits at Infin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s at infinity are limits (i.e. the function takes a number) for </a:t>
            </a:r>
            <a:r>
              <a:rPr lang="en-US" i="1" dirty="0" smtClean="0"/>
              <a:t>x</a:t>
            </a:r>
            <a:r>
              <a:rPr lang="en-US" dirty="0" smtClean="0"/>
              <a:t> tending towards positive or negative infinit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7035940" cy="93335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15"/>
            <a:ext cx="7053062" cy="25054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limits at infinity lead to horizontal asymptotes of the corresponding graph (1/ 2)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5760640" cy="1948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291813"/>
            <a:ext cx="7046523" cy="15680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limits at infinity lead to horizontal asymptotes of the corresponding graph (2/ 2)</a:t>
            </a:r>
            <a:endParaRPr lang="en-US" dirty="0"/>
          </a:p>
        </p:txBody>
      </p:sp>
      <p:pic>
        <p:nvPicPr>
          <p:cNvPr id="1026" name="Picture 2" descr="https://cnm.pg.edu.pl/documents/2332190/36557042/limit%20at%20infinity?t=1447353205119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8640960" cy="3758716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>
          <a:xfrm>
            <a:off x="4979077" y="843558"/>
            <a:ext cx="41649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dirty="0" smtClean="0"/>
              <a:t>https://cnm.pg.edu.pl/mathematics/limits-and-continuity?p_l_id=65013635&amp;p_v_l_s_g_id=0&amp;</a:t>
            </a:r>
            <a:endParaRPr lang="en-US" sz="800" dirty="0"/>
          </a:p>
        </p:txBody>
      </p:sp>
      <p:sp>
        <p:nvSpPr>
          <p:cNvPr id="6" name="Rechteck 5"/>
          <p:cNvSpPr/>
          <p:nvPr/>
        </p:nvSpPr>
        <p:spPr>
          <a:xfrm>
            <a:off x="251520" y="11315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uppieren 8"/>
          <p:cNvGrpSpPr/>
          <p:nvPr/>
        </p:nvGrpSpPr>
        <p:grpSpPr>
          <a:xfrm>
            <a:off x="5076056" y="3607944"/>
            <a:ext cx="3816424" cy="1412077"/>
            <a:chOff x="1691680" y="2355726"/>
            <a:chExt cx="7200800" cy="2664296"/>
          </a:xfrm>
        </p:grpSpPr>
        <p:sp>
          <p:nvSpPr>
            <p:cNvPr id="7" name="Rechteck 6"/>
            <p:cNvSpPr/>
            <p:nvPr/>
          </p:nvSpPr>
          <p:spPr>
            <a:xfrm>
              <a:off x="1691680" y="2355726"/>
              <a:ext cx="7200800" cy="266429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Grafik 7" descr="IguanaTex_tmp.png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4" cstate="print"/>
            <a:stretch>
              <a:fillRect/>
            </a:stretch>
          </p:blipFill>
          <p:spPr>
            <a:xfrm>
              <a:off x="1763690" y="2427715"/>
              <a:ext cx="7053062" cy="2505435"/>
            </a:xfrm>
            <a:prstGeom prst="rect">
              <a:avLst/>
            </a:prstGeom>
            <a:noFill/>
            <a:ln/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imit at (positive and negative) infinity of a reciprocal monomial is zero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7035852" cy="99580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427734"/>
            <a:ext cx="7200800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499723"/>
            <a:ext cx="6375593" cy="11828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at infin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28091" cy="36762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at infinity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4765903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787760"/>
            <a:ext cx="7045737" cy="21657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evaluate a limit at infinity of a rational function we first divide by the highest occurring power and then continue to compute the limi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1"/>
            <a:ext cx="7036159" cy="45693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923678"/>
            <a:ext cx="7200800" cy="30963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95665"/>
            <a:ext cx="7053274" cy="29749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at infin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2613" cy="23840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7,6829"/>
  <p:tag name="ORIGINALWIDTH" val="4450,694"/>
  <p:tag name="LATEXADDIN" val="\documentclass{article}\pagestyle{empty}&#10;\usepackage{amsmath}&#10;\usepackage{amsfonts}&#10;\usepackage{amssymb}&#10;\begin{document}&#10;\begin{minipage}{12.6 cm}&#10;{\sffamily{&#10;'Long-term' behavior is often a matter of interest. In mathematics, the {\bf{infinity symbol}} '$\infty$' is used to represent either unbounded&#10;growth or the result of such growth. Here are definitions of limits involving infinity that we will use to study long-term behavior.}}&#10;\end{minipage}&#10;\end{document}"/>
  <p:tag name="IGUANATEXSIZE" val="20"/>
  <p:tag name="IGUANATEXCURSOR" val="2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9,82"/>
  <p:tag name="ORIGINALWIDTH" val="4458,943"/>
  <p:tag name="LATEXADDIN" val="\documentclass{article}\pagestyle{empty}&#10;\usepackage{amsmath}&#10;\usepackage{amsfonts}&#10;\usepackage{amssymb}&#10;\begin{document}&#10;\begin{minipage}{12.6 cm}&#10;{\sffamily{&#10;{\bf{Limits at Infinity:}}\\[1mm]&#10;If the values of the function $f(x)$ approach the number $L \in \mathbb{R}$ as $x$ increases without bound ($x \to \infty$), we write&#10;$$&#10;\lim_{x \to \infty} f(x) \, \, = \, \, L \, .&#10;$$&#10;Similarly, we write&#10;$$&#10;\lim_{x \to -\infty} f(x) \, \, = \, \, M \, .&#10;$$&#10;when the functional values $f(x)$ approach the number $M \in \mathbb{R}$ as $x$ decreases without bound ($x \to -\infty$).&#10;}}&#10;\end{minipage}&#10;\end{document}"/>
  <p:tag name="IGUANATEXSIZE" val="20"/>
  <p:tag name="IGUANATEXCURSOR" val="3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2,1373"/>
  <p:tag name="ORIGINALWIDTH" val="4456,693"/>
  <p:tag name="LATEXADDIN" val="\documentclass{article}\pagestyle{empty}&#10;\usepackage{amsmath}&#10;\usepackage{amsfonts}&#10;\usepackage{amssymb}&#10;\begin{document}&#10;\begin{minipage}{12.6 cm}&#10;{\sffamily{&#10;Geometrically, the limit statement means that as $x \to \infty$, the graph of $f(x)$ approaches the horizontal line $y=L$, while $\lim_{x \to -\infty} f(x)$&#10;means that the graph of $f(x)$ approaches the line $y = M$ as $x$ decreases without bound. The lines $y=L$ and $y=M$ that appear in this context are called&#10;{\bf{horizontal asymptotes}} of the graph of $f(x)$.\\[1mm]&#10;There are many different ways for a graph to have horizontal asymptotes, one of which is shown in the figure.}}&#10;\end{minipage}&#10;\end{document}"/>
  <p:tag name="IGUANATEXSIZE" val="20"/>
  <p:tag name="IGUANATEXCURSOR" val="6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9,82"/>
  <p:tag name="ORIGINALWIDTH" val="4458,943"/>
  <p:tag name="LATEXADDIN" val="\documentclass{article}\pagestyle{empty}&#10;\usepackage{amsmath}&#10;\usepackage{amsfonts}&#10;\usepackage{amssymb}&#10;\begin{document}&#10;\begin{minipage}{12.6 cm}&#10;{\sffamily{&#10;{\bf{Limits at Infinity:}}\\[1mm]&#10;If the values of the function $f(x)$ approach the number $L \in \mathbb{R}$ as $x$ increases without bound ($x \to \infty$), we write&#10;$$&#10;\lim_{x \to \infty} f(x) \, \, = \, \, L \, .&#10;$$&#10;Similarly, we write&#10;$$&#10;\lim_{x \to -\infty} f(x) \, \, = \, \, M \, .&#10;$$&#10;when the functional values $f(x)$ approach the number $M \in \mathbb{R}$ as $x$ decreases without bound ($x \to -\infty$).&#10;}}&#10;\end{minipage}&#10;\end{document}"/>
  <p:tag name="IGUANATEXSIZE" val="20"/>
  <p:tag name="IGUANATEXCURSOR" val="3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2,9284"/>
  <p:tag name="ORIGINALWIDTH" val="4449,944"/>
  <p:tag name="LATEXADDIN" val="\documentclass{article}\pagestyle{empty}&#10;\usepackage{amsmath}&#10;\usepackage{amsfonts}&#10;\usepackage{amssymb}&#10;\begin{document}&#10;\begin{minipage}{12.6 cm}&#10;{\sffamily{&#10;The algebraic properties of limits listed earlier also apply to limits at infinity.\\[1mm]&#10;In addition, since any reciprocal power $x^{-k}$ for $k&gt;0$ becomes smaller and smaller in absolute value as&#10;$x$ either increases or decreases without bound, we have these useful rules: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79,4151"/>
  <p:tag name="ORIGINALWIDTH" val="4031,496"/>
  <p:tag name="LATEXADDIN" val="\documentclass{article}\pagestyle{empty}&#10;\usepackage{amsmath}&#10;\usepackage{amsfonts}&#10;\usepackage{amssymb}&#10;\begin{document}&#10;\begin{minipage}{12.6 cm}&#10;{\sffamily{&#10;{\bf{Reciprocal Limit Rules:}}\\[1mm]&#10;If $A$ and $k$ are real constants with $k&gt;0$ and $x^k$ is&#10;defined for all $x \in \mathbb{R}$, then&#10;$$&#10;\lim_{x \to \infty} \frac{A}{x^k} \, \, = \, \, 0 \qquad \text{and} \qquad&#10;\lim_{x \to -\infty} \frac{A}{x^k} \, \, = \, \, 0 \, .&#10;$$&#10;&#10;}}&#10;\end{minipage}&#10;\end{document}"/>
  <p:tag name="IGUANATEXSIZE" val="20"/>
  <p:tag name="IGUANATEXCURSOR" val="3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0,484"/>
  <p:tag name="ORIGINALWIDTH" val="4449,194"/>
  <p:tag name="LATEXADDIN" val="\documentclass{article}\pagestyle{empty}&#10;\usepackage{amsmath}&#10;\usepackage{amsfonts}&#10;\usepackage{amssymb}&#10;\begin{document}&#10;\begin{minipage}{12.6 cm}&#10;{\sffamily{&#10;{\bf{Example:}}&#10;Determine (if possible)\\[-3mm]&#10;$$&#10;\lim_{x \to \infty} \, \frac{x^2}{1+x+2x^2} \, .&#10;$$&#10;&#10;{\bf{Solution:}}\\[1mm]&#10;To get a feeling for what happens with this limit, we evaluate the function\\[-2mm]&#10;$$&#10;f(x) \, \, = \, \, \frac{x^2}{1+x+2x^2}&#10;$$&#10;at increasing values of $x$ and display the results in the table:&#10;{\small{&#10;\begin{center}&#10;\begin{tabular}{c || c | c | c | c | c} &#10;$x$ &amp; $100$ &amp; $1000$ &amp; $10000$ &amp; $100000$ &amp; $x \to \infty$\\&#10;\hline&#10;$f(x)$ &amp; $0.49749$ &amp; $0.49975$ &amp; $0.49997$ &amp; $0.49999$&#10;\end{tabular}&#10;\end{center}&#10;}}&#10;&#10;The functional values on the bottom line in the table suggest that $f(x)$ tends toward&#10;$0.5$ as $x$ grows larger and larger.&#10;}}&#10;\end{minipage}&#10;\end{document}"/>
  <p:tag name="IGUANATEXSIZE" val="20"/>
  <p:tag name="IGUANATEXCURSOR" val="5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0,844"/>
  <p:tag name="ORIGINALWIDTH" val="4457,443"/>
  <p:tag name="LATEXADDIN" val="\documentclass{article}\pagestyle{empty}&#10;\usepackage{amsmath}&#10;\usepackage{amsfonts}&#10;\usepackage{amssymb}&#10;\begin{document}&#10;\begin{minipage}{12.6 cm}&#10;{\sffamily{&#10;To confirm this observation analytically, we divide each term in $f(x)$ by the highest power that appears&#10;in the denominator $1+ x + 2x^2$, that is, by $x^2$. This enables us to find $\lim_{x \to \infty} f(x)$ by&#10;applying reciprocal power rules as follows:\\[-4mm]&#10;\begin{eqnarray*}&#10;\lim_{x \to \infty} \, \frac{x^2}{1+x+2x^2} &amp; = &amp; \lim_{x \to \infty} \, \frac{1}{x^{-2}+x^{-1}+2} \, \, = \, \,&#10;\frac{{\displaystyle{\lim_{x \to \infty} 1}}}{{\displaystyle{\lim_{x \to \infty} x^{-2}}} + {\displaystyle{\lim_{x \to \infty} x^{-1}}} + {\displaystyle{\lim_{x \to \infty} 2 }}} \\&#10;&amp; = &amp;&#10;\frac{1}{0 + 0 + 2} \, \, = \, \, \frac{1}{2} \, .&#10;\end{eqnarray*}&#10;}}&#10;\end{minipage}&#10;\end{document}"/>
  <p:tag name="IGUANATEXSIZE" val="20"/>
  <p:tag name="IGUANATEXCURSOR" val="4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49,194"/>
  <p:tag name="LATEXADDIN" val="\documentclass{article}\pagestyle{empty}&#10;\usepackage{amsmath}&#10;\usepackage{amsfonts}&#10;\usepackage{amssymb}&#10;\begin{document}&#10;\begin{minipage}{12.6 cm}&#10;{\sffamily{&#10;Here is a general description of the procedure for evaluating a limit of a rational&#10;function at infinity.}}&#10;\end{minipage}&#10;\end{document}"/>
  <p:tag name="IGUANATEXSIZE" val="20"/>
  <p:tag name="IGUANATEXCURSOR" val="2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3,787"/>
  <p:tag name="ORIGINALWIDTH" val="4456,693"/>
  <p:tag name="LATEXADDIN" val="\documentclass{article}\pagestyle{empty}&#10;\usepackage{amsmath}&#10;\usepackage{amsfonts}&#10;\usepackage{amssymb}&#10;\begin{document}&#10;\begin{minipage}{12.6 cm}&#10;{\sffamily{&#10;{\bf{Procedure for Evaluating a Limit at Infinity of a Rational Function:}}\\[1mm]&#10;Let&#10;$$&#10;f(x) \, \, = \, \, \frac{p(x)}{q(x)} \qquad \text{with polynomials $p(x)$ and $q(x)$}&#10;$$&#10;\begin{description}&#10;\item[Step 1:] Divide each term in $f(x)$ by the highest power $x^k$ that appears in the&#10;denominator polynomial $q(x)$.&#10;\item[Step 2:] Compute $\lim_{x \to \infty} f(x)$ or $\lim_{x \to -\infty} f(x)$ using algebraic properties of limits&#10;and the reciprocal power rules.\\[1mm]&#10;Note, as $q(x)$ is a polynomial we have $\lim_{x \to \pm \infty} q(x) \neq 0$ such that the fraction is defined&#10;for very large positive and negative numbers.&#10;\end{description}&#10;}}&#10;\end{minipage}&#10;\end{document}"/>
  <p:tag name="IGUANATEXSIZE" val="20"/>
  <p:tag name="IGUANATEXCURSOR" val="7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1,327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}}&#10;Determine (if possible)\\[-3mm]&#10;$$&#10;\lim_{x \to \infty} \, \frac{2 x^2 + 3x + 1}{3x^2 - 5x + 2} \, .&#10;$$&#10;&#10;{\bf{Solution:}}\\[1mm]&#10;The highest power in the denominator is $x^2$. We divide the numerator and denominator&#10;by $x^2$ to get&#10;$$&#10;\lim_{x \to \infty} \, \frac{2 x^2 + 3x + 1}{3x^2 - 5x + 2} \, \, = \, \,&#10;\lim_{x \to \infty} \, \frac{2 + 3x^{-1} + x^{-2}}{3 - 5x^{-1} + 2x^{-2}} \, \, = \, \,&#10;\frac{2+0+0}{3+0+0} \, \, = \, \, \frac{2}{3} \, .&#10;$$&#10;}}&#10;\end{minipage}&#10;\end{document}"/>
  <p:tag name="IGUANATEXSIZE" val="20"/>
  <p:tag name="IGUANATEXCURSOR" val="6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7</Words>
  <Application>Microsoft Office PowerPoint</Application>
  <PresentationFormat>Bildschirmpräsentation (16:9)</PresentationFormat>
  <Paragraphs>20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3" baseType="lpstr">
      <vt:lpstr>Arial</vt:lpstr>
      <vt:lpstr>Calibri</vt:lpstr>
      <vt:lpstr>Larissa-Design</vt:lpstr>
      <vt:lpstr>Calculus I for MGMT – Limits &amp; Continuity Limits at Infinity</vt:lpstr>
      <vt:lpstr>Limits at infinity are limits (i.e. the function takes a number) for x tending towards positive or negative infinity</vt:lpstr>
      <vt:lpstr>Geometrically, limits at infinity lead to horizontal asymptotes of the corresponding graph (1/ 2)</vt:lpstr>
      <vt:lpstr>Geometrically, limits at infinity lead to horizontal asymptotes of the corresponding graph (2/ 2)</vt:lpstr>
      <vt:lpstr>The limit at (positive and negative) infinity of a reciprocal monomial is zero</vt:lpstr>
      <vt:lpstr>Example: Finding a limit at infinity</vt:lpstr>
      <vt:lpstr>Example: Finding a limit at infinity</vt:lpstr>
      <vt:lpstr>To evaluate a limit at infinity of a rational function we first divide by the highest occurring power and then continue to compute the limit</vt:lpstr>
      <vt:lpstr>Example: Finding a limit at infinity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8</cp:revision>
  <dcterms:created xsi:type="dcterms:W3CDTF">2020-04-04T18:50:50Z</dcterms:created>
  <dcterms:modified xsi:type="dcterms:W3CDTF">2022-07-16T16:04:54Z</dcterms:modified>
</cp:coreProperties>
</file>